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9659" r:id="rId4"/>
  </p:sldMasterIdLst>
  <p:notesMasterIdLst>
    <p:notesMasterId r:id="rId16"/>
  </p:notesMasterIdLst>
  <p:sldIdLst>
    <p:sldId id="256" r:id="rId5"/>
    <p:sldId id="1009" r:id="rId6"/>
    <p:sldId id="1017" r:id="rId7"/>
    <p:sldId id="1010" r:id="rId8"/>
    <p:sldId id="1011" r:id="rId9"/>
    <p:sldId id="1012" r:id="rId10"/>
    <p:sldId id="1013" r:id="rId11"/>
    <p:sldId id="1014" r:id="rId12"/>
    <p:sldId id="1019" r:id="rId13"/>
    <p:sldId id="1018" r:id="rId14"/>
    <p:sldId id="1008" r:id="rId15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" userDrawn="1">
          <p15:clr>
            <a:srgbClr val="A4A3A4"/>
          </p15:clr>
        </p15:guide>
        <p15:guide id="2" pos="3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6977"/>
    <a:srgbClr val="E3F6F9"/>
    <a:srgbClr val="BCEAF2"/>
    <a:srgbClr val="2091A4"/>
    <a:srgbClr val="1E478D"/>
    <a:srgbClr val="F15A2B"/>
    <a:srgbClr val="C7C8CA"/>
    <a:srgbClr val="F15A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23" autoAdjust="0"/>
    <p:restoredTop sz="94364" autoAdjust="0"/>
  </p:normalViewPr>
  <p:slideViewPr>
    <p:cSldViewPr>
      <p:cViewPr varScale="1">
        <p:scale>
          <a:sx n="69" d="100"/>
          <a:sy n="69" d="100"/>
        </p:scale>
        <p:origin x="712" y="44"/>
      </p:cViewPr>
      <p:guideLst>
        <p:guide orient="horz" pos="288"/>
        <p:guide pos="3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CE3911-1960-407F-9C95-84D912A45D0A}" type="datetimeFigureOut">
              <a:rPr lang="en-GB" smtClean="0"/>
              <a:t>25/03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7E0DFF-A496-4E48-9B57-1281EB7D3B5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809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9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9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2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3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9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4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9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4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3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696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69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5924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7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86693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74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3398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63605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7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29159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8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0848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8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6345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86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513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8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5391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91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1790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55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2510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9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0142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9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60158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9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11420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1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9971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0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60170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05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5056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40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2044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510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566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13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92636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715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1130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8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672" y="304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3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817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94868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920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08" t="11678" r="10388" b="10840"/>
          <a:stretch/>
        </p:blipFill>
        <p:spPr bwMode="auto">
          <a:xfrm>
            <a:off x="10208111" y="435948"/>
            <a:ext cx="1413284" cy="960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667650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485800"/>
            <a:ext cx="2494016" cy="215444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678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04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81210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4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250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51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7174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5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15290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5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23237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55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97192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661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171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76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18016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1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209309"/>
            <a:ext cx="10933350" cy="332399"/>
          </a:xfrm>
        </p:spPr>
        <p:txBody>
          <a:bodyPr/>
          <a:lstStyle>
            <a:lvl1pPr>
              <a:defRPr sz="2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653309"/>
            <a:ext cx="10933200" cy="261091"/>
          </a:xfrm>
        </p:spPr>
        <p:txBody>
          <a:bodyPr anchor="ctr"/>
          <a:lstStyle>
            <a:lvl1pPr>
              <a:defRPr sz="1600" baseline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11600" indent="0">
              <a:buNone/>
              <a:defRPr/>
            </a:lvl2pPr>
            <a:lvl3pPr marL="3456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06193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865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75548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96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346031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070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88667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45511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75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2237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685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6404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889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 descr="IT, BPM, Digital Services Provider for Superior Customer ...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08" t="11678" r="10388" b="10840"/>
          <a:stretch/>
        </p:blipFill>
        <p:spPr bwMode="auto">
          <a:xfrm>
            <a:off x="4371078" y="2256247"/>
            <a:ext cx="3449844" cy="234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815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768"/>
            <a:ext cx="12192000" cy="1104900"/>
          </a:xfrm>
          <a:prstGeom prst="rect">
            <a:avLst/>
          </a:prstGeom>
        </p:spPr>
      </p:pic>
      <p:sp>
        <p:nvSpPr>
          <p:cNvPr id="12" name="Oval 11"/>
          <p:cNvSpPr/>
          <p:nvPr userDrawn="1"/>
        </p:nvSpPr>
        <p:spPr>
          <a:xfrm>
            <a:off x="11687794" y="6428158"/>
            <a:ext cx="296455" cy="23584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86" tIns="41444" rIns="82886" bIns="41444" rtlCol="0" anchor="ctr"/>
          <a:lstStyle/>
          <a:p>
            <a:pPr marL="0" marR="0" lvl="0" indent="0" algn="ctr" defTabSz="945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2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11614532" y="6288485"/>
            <a:ext cx="441042" cy="511176"/>
          </a:xfrm>
          <a:prstGeom prst="rect">
            <a:avLst/>
          </a:prstGeom>
        </p:spPr>
        <p:txBody>
          <a:bodyPr vert="horz" lIns="91368" tIns="45685" rIns="91368" bIns="45685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1D2EC-CA46-4493-A09E-F0FD5EC705F6}" type="slidenum">
              <a:rPr kumimoji="0" lang="en-US" altLang="en-US" sz="725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en-US" sz="7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8630" y="314694"/>
            <a:ext cx="11649073" cy="481572"/>
          </a:xfrm>
          <a:prstGeom prst="rect">
            <a:avLst/>
          </a:prstGeom>
        </p:spPr>
        <p:txBody>
          <a:bodyPr lIns="91405" tIns="45703" rIns="91405" bIns="45703" anchor="ctr"/>
          <a:lstStyle>
            <a:lvl1pPr algn="l">
              <a:defRPr sz="2811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05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5/202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24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400" kern="1200" dirty="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30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5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209309"/>
            <a:ext cx="10933350" cy="332399"/>
          </a:xfrm>
        </p:spPr>
        <p:txBody>
          <a:bodyPr/>
          <a:lstStyle>
            <a:lvl1pPr>
              <a:defRPr sz="2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2873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939" y="223878"/>
            <a:ext cx="10822251" cy="621884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LF_Ka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ageSubtitle"/>
          <p:cNvSpPr>
            <a:spLocks noGrp="1"/>
          </p:cNvSpPr>
          <p:nvPr>
            <p:ph type="subTitle" idx="10" hasCustomPrompt="1"/>
          </p:nvPr>
        </p:nvSpPr>
        <p:spPr>
          <a:xfrm>
            <a:off x="461939" y="1011598"/>
            <a:ext cx="11195171" cy="331672"/>
          </a:xfr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907"/>
              </a:spcBef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ea typeface="LF_Kai"/>
              </a:defRPr>
            </a:lvl1pPr>
            <a:lvl2pPr marL="414498" indent="0" algn="ctr">
              <a:buNone/>
            </a:lvl2pPr>
            <a:lvl3pPr marL="828995" indent="0" algn="ctr">
              <a:buNone/>
            </a:lvl3pPr>
            <a:lvl4pPr marL="1243493" indent="0" algn="ctr">
              <a:buNone/>
            </a:lvl4pPr>
            <a:lvl5pPr marL="1657990" indent="0" algn="ctr">
              <a:buNone/>
            </a:lvl5pPr>
            <a:lvl6pPr marL="2072488" indent="0" algn="ctr">
              <a:buNone/>
            </a:lvl6pPr>
            <a:lvl7pPr marL="2486985" indent="0" algn="ctr">
              <a:buNone/>
            </a:lvl7pPr>
            <a:lvl8pPr marL="2901483" indent="0" algn="ctr">
              <a:buNone/>
            </a:lvl8pPr>
            <a:lvl9pPr marL="3315980" indent="0" algn="ctr">
              <a:buNone/>
            </a:lvl9pPr>
          </a:lstStyle>
          <a:p>
            <a:r>
              <a:rPr lang="en-US" dirty="0"/>
              <a:t>Click to edit Page Subtitle</a:t>
            </a:r>
          </a:p>
        </p:txBody>
      </p:sp>
      <p:sp>
        <p:nvSpPr>
          <p:cNvPr id="4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11038531" y="-195778"/>
            <a:ext cx="1153469" cy="1013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3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828995"/>
            <a:r>
              <a:rPr lang="en-US">
                <a:solidFill>
                  <a:srgbClr val="000000">
                    <a:tint val="75000"/>
                  </a:srgbClr>
                </a:solidFill>
              </a:rPr>
              <a:t>3423998-001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40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Only">
    <p:bg>
      <p:bgPr>
        <a:solidFill>
          <a:srgbClr val="EEEC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 noGrp="1"/>
          </p:cNvSpPr>
          <p:nvPr>
            <p:ph type="title"/>
          </p:nvPr>
        </p:nvSpPr>
        <p:spPr>
          <a:xfrm>
            <a:off x="630003" y="622797"/>
            <a:ext cx="10933352" cy="387797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861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0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68233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6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 algn="ctr"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19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6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7760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67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 rot="16200000">
            <a:off x="10164743" y="4776556"/>
            <a:ext cx="3685712" cy="18592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+mn-lt"/>
              </a:rPr>
              <a:t>© IGT Solutions Pvt. 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275403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07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8107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660" r:id="rId1"/>
    <p:sldLayoutId id="2147489661" r:id="rId2"/>
    <p:sldLayoutId id="2147489771" r:id="rId3"/>
    <p:sldLayoutId id="2147489770" r:id="rId4"/>
    <p:sldLayoutId id="2147489662" r:id="rId5"/>
    <p:sldLayoutId id="2147489663" r:id="rId6"/>
    <p:sldLayoutId id="2147489664" r:id="rId7"/>
    <p:sldLayoutId id="2147489665" r:id="rId8"/>
    <p:sldLayoutId id="2147489666" r:id="rId9"/>
    <p:sldLayoutId id="2147489667" r:id="rId10"/>
    <p:sldLayoutId id="2147489668" r:id="rId11"/>
    <p:sldLayoutId id="2147489669" r:id="rId12"/>
    <p:sldLayoutId id="2147489670" r:id="rId13"/>
    <p:sldLayoutId id="2147489671" r:id="rId14"/>
    <p:sldLayoutId id="2147489672" r:id="rId15"/>
    <p:sldLayoutId id="2147489673" r:id="rId16"/>
    <p:sldLayoutId id="2147489674" r:id="rId17"/>
    <p:sldLayoutId id="2147489675" r:id="rId18"/>
    <p:sldLayoutId id="2147489676" r:id="rId19"/>
    <p:sldLayoutId id="2147489677" r:id="rId20"/>
    <p:sldLayoutId id="2147489678" r:id="rId21"/>
    <p:sldLayoutId id="2147489679" r:id="rId22"/>
    <p:sldLayoutId id="2147489680" r:id="rId23"/>
    <p:sldLayoutId id="2147489681" r:id="rId24"/>
    <p:sldLayoutId id="2147489682" r:id="rId25"/>
    <p:sldLayoutId id="2147489683" r:id="rId26"/>
    <p:sldLayoutId id="2147489684" r:id="rId27"/>
    <p:sldLayoutId id="2147489685" r:id="rId28"/>
    <p:sldLayoutId id="2147489686" r:id="rId29"/>
    <p:sldLayoutId id="2147489687" r:id="rId30"/>
    <p:sldLayoutId id="2147489688" r:id="rId31"/>
    <p:sldLayoutId id="2147489699" r:id="rId32"/>
    <p:sldLayoutId id="2147489700" r:id="rId33"/>
    <p:sldLayoutId id="2147489701" r:id="rId34"/>
    <p:sldLayoutId id="2147489702" r:id="rId35"/>
    <p:sldLayoutId id="2147489703" r:id="rId36"/>
    <p:sldLayoutId id="2147489704" r:id="rId37"/>
    <p:sldLayoutId id="2147489705" r:id="rId38"/>
    <p:sldLayoutId id="2147489706" r:id="rId39"/>
    <p:sldLayoutId id="2147489707" r:id="rId40"/>
    <p:sldLayoutId id="2147489708" r:id="rId41"/>
    <p:sldLayoutId id="2147489709" r:id="rId42"/>
    <p:sldLayoutId id="2147489710" r:id="rId43"/>
    <p:sldLayoutId id="2147489711" r:id="rId44"/>
    <p:sldLayoutId id="2147489715" r:id="rId45"/>
    <p:sldLayoutId id="2147489717" r:id="rId46"/>
    <p:sldLayoutId id="2147489729" r:id="rId47"/>
    <p:sldLayoutId id="2147489766" r:id="rId48"/>
    <p:sldLayoutId id="2147489767" r:id="rId49"/>
    <p:sldLayoutId id="2147489768" r:id="rId50"/>
    <p:sldLayoutId id="2147489769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371600"/>
            <a:ext cx="12192000" cy="5486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0635342" y="205681"/>
            <a:ext cx="930527" cy="621627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98385" y="3429000"/>
            <a:ext cx="6481544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5" dirty="0" smtClean="0"/>
              <a:t>IGT – </a:t>
            </a:r>
            <a:r>
              <a:rPr lang="en-US" spc="-5" dirty="0" smtClean="0"/>
              <a:t>Virtual Hackath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96029" y="6473422"/>
            <a:ext cx="70974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latin typeface="Arial" panose="020B0604020202020204" pitchFamily="34" charset="0"/>
                <a:cs typeface="Arial" panose="020B0604020202020204" pitchFamily="34" charset="0"/>
              </a:rPr>
              <a:t>Images, Brand information and logo’s used in this presentation are property(ies) of the respective business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029200" y="386313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rgbClr val="FFC000"/>
                </a:solidFill>
              </a:rPr>
              <a:t>25</a:t>
            </a:r>
            <a:r>
              <a:rPr lang="en-US" b="1" baseline="30000" dirty="0" smtClean="0">
                <a:solidFill>
                  <a:srgbClr val="FFC000"/>
                </a:solidFill>
              </a:rPr>
              <a:t>th</a:t>
            </a:r>
            <a:r>
              <a:rPr lang="en-US" b="1" dirty="0" smtClean="0">
                <a:solidFill>
                  <a:srgbClr val="FFC000"/>
                </a:solidFill>
              </a:rPr>
              <a:t> </a:t>
            </a:r>
            <a:r>
              <a:rPr lang="en-US" b="1" dirty="0" smtClean="0">
                <a:solidFill>
                  <a:srgbClr val="FFC000"/>
                </a:solidFill>
              </a:rPr>
              <a:t>March, 2022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191402"/>
              </p:ext>
            </p:extLst>
          </p:nvPr>
        </p:nvGraphicFramePr>
        <p:xfrm>
          <a:off x="3429000" y="1600200"/>
          <a:ext cx="4548888" cy="4093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4924">
                  <a:extLst>
                    <a:ext uri="{9D8B030D-6E8A-4147-A177-3AD203B41FA5}">
                      <a16:colId xmlns:a16="http://schemas.microsoft.com/office/drawing/2014/main" val="1479707316"/>
                    </a:ext>
                  </a:extLst>
                </a:gridCol>
                <a:gridCol w="1153964">
                  <a:extLst>
                    <a:ext uri="{9D8B030D-6E8A-4147-A177-3AD203B41FA5}">
                      <a16:colId xmlns:a16="http://schemas.microsoft.com/office/drawing/2014/main" val="825917463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arameter</a:t>
                      </a:r>
                      <a:endParaRPr lang="en-US" sz="1200" dirty="0"/>
                    </a:p>
                  </a:txBody>
                  <a:tcPr marL="65973" marR="65973" marT="32987" marB="32987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tlanta</a:t>
                      </a:r>
                      <a:endParaRPr lang="en-US" sz="1200" dirty="0"/>
                    </a:p>
                  </a:txBody>
                  <a:tcPr marL="65973" marR="65973" marT="32987" marB="32987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181820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algn="l"/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  <a:endParaRPr lang="en-US" sz="12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95%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0354113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cision</a:t>
                      </a:r>
                      <a:endParaRPr lang="en-US" sz="12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70955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1 Score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6475067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vents occurring in next month</a:t>
                      </a:r>
                      <a:endParaRPr lang="en-US" sz="12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7554368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vents occurring in next 6 months</a:t>
                      </a:r>
                      <a:endParaRPr lang="en-US" sz="12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861134"/>
                  </a:ext>
                </a:extLst>
              </a:tr>
              <a:tr h="5551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vents occurring in next 12 months</a:t>
                      </a:r>
                      <a:endParaRPr lang="en-US" sz="12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697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9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932685"/>
                  </a:ext>
                </a:extLst>
              </a:tr>
            </a:tbl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5672" y="304800"/>
            <a:ext cx="10933200" cy="332399"/>
          </a:xfrm>
        </p:spPr>
        <p:txBody>
          <a:bodyPr/>
          <a:lstStyle/>
          <a:p>
            <a:r>
              <a:rPr lang="en-US" dirty="0" smtClean="0"/>
              <a:t>AI-ML Model Outpu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7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278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03"/>
          <a:stretch/>
        </p:blipFill>
        <p:spPr>
          <a:xfrm>
            <a:off x="990600" y="1143000"/>
            <a:ext cx="10275919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94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672" y="285135"/>
            <a:ext cx="10933200" cy="720197"/>
          </a:xfrm>
        </p:spPr>
        <p:txBody>
          <a:bodyPr/>
          <a:lstStyle/>
          <a:p>
            <a:r>
              <a:rPr lang="en-US" sz="2800" dirty="0" smtClean="0"/>
              <a:t>Scope Item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676400" y="1600200"/>
            <a:ext cx="8077200" cy="44196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4400" y="1143000"/>
            <a:ext cx="9067800" cy="48768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>
                <a:latin typeface="+mj-lt"/>
              </a:rPr>
              <a:t>Identify </a:t>
            </a:r>
            <a:r>
              <a:rPr lang="en-US" sz="2000" dirty="0">
                <a:latin typeface="+mj-lt"/>
              </a:rPr>
              <a:t>potential repeating events over the historical </a:t>
            </a:r>
            <a:r>
              <a:rPr lang="en-US" sz="2000" dirty="0" smtClean="0">
                <a:latin typeface="+mj-lt"/>
              </a:rPr>
              <a:t>pattern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>
                <a:latin typeface="+mj-lt"/>
              </a:rPr>
              <a:t>Be </a:t>
            </a:r>
            <a:r>
              <a:rPr lang="en-US" sz="2000" dirty="0">
                <a:latin typeface="+mj-lt"/>
              </a:rPr>
              <a:t>able to provide a percentage of accuracy for each event identified as </a:t>
            </a:r>
            <a:r>
              <a:rPr lang="en-US" sz="2000" dirty="0" smtClean="0">
                <a:latin typeface="+mj-lt"/>
              </a:rPr>
              <a:t>repeating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>
                <a:latin typeface="+mj-lt"/>
              </a:rPr>
              <a:t>Potential to predict “when it will occur”. This could be a day of week and week of month pattern </a:t>
            </a:r>
            <a:r>
              <a:rPr lang="en-US" sz="2000" dirty="0">
                <a:latin typeface="+mj-lt"/>
              </a:rPr>
              <a:t>or specific </a:t>
            </a:r>
            <a:r>
              <a:rPr lang="en-US" sz="2000" dirty="0" smtClean="0">
                <a:latin typeface="+mj-lt"/>
              </a:rPr>
              <a:t>date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>
                <a:latin typeface="+mj-lt"/>
              </a:rPr>
              <a:t>Potential </a:t>
            </a:r>
            <a:r>
              <a:rPr lang="en-US" sz="2000" dirty="0">
                <a:latin typeface="+mj-lt"/>
              </a:rPr>
              <a:t>to predict the hotel it will book. (Do it if possible</a:t>
            </a:r>
            <a:r>
              <a:rPr lang="en-US" sz="2000" dirty="0" smtClean="0">
                <a:latin typeface="+mj-lt"/>
              </a:rPr>
              <a:t>)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 smtClean="0">
                <a:latin typeface="+mj-lt"/>
              </a:rPr>
              <a:t>Forecast </a:t>
            </a:r>
            <a:r>
              <a:rPr lang="en-US" sz="2000" dirty="0">
                <a:latin typeface="+mj-lt"/>
              </a:rPr>
              <a:t>the potential size of the event (Do it if possible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439401" y="844432"/>
            <a:ext cx="747712" cy="67973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443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672" y="304800"/>
            <a:ext cx="10933200" cy="387798"/>
          </a:xfrm>
        </p:spPr>
        <p:txBody>
          <a:bodyPr/>
          <a:lstStyle/>
          <a:p>
            <a:r>
              <a:rPr lang="en-US" sz="2800" dirty="0" smtClean="0"/>
              <a:t>Data Fields</a:t>
            </a:r>
            <a:endParaRPr lang="en-US" sz="28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38200" y="1412018"/>
            <a:ext cx="9724567" cy="4531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Market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Hotel Nam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Hotel Address (this would be for number 4 above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Event ID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Event Dat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Company/Account Nam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Event Nam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Largest Meeting Room used (Square Footage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Total Square Footage Used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Estimated Attende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Chain Scal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Brand Group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Brand </a:t>
            </a:r>
          </a:p>
        </p:txBody>
      </p:sp>
    </p:spTree>
    <p:extLst>
      <p:ext uri="{BB962C8B-B14F-4D97-AF65-F5344CB8AC3E}">
        <p14:creationId xmlns:p14="http://schemas.microsoft.com/office/powerpoint/2010/main" val="123145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33200" cy="332399"/>
          </a:xfrm>
        </p:spPr>
        <p:txBody>
          <a:bodyPr/>
          <a:lstStyle/>
          <a:p>
            <a:r>
              <a:rPr lang="en-US" dirty="0" smtClean="0"/>
              <a:t>Changes in Data.								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90600" y="1676400"/>
            <a:ext cx="9906000" cy="3581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000" dirty="0"/>
              <a:t>E</a:t>
            </a:r>
            <a:r>
              <a:rPr lang="en-US" sz="2000" dirty="0" smtClean="0"/>
              <a:t>vents </a:t>
            </a:r>
            <a:r>
              <a:rPr lang="en-US" sz="2000" dirty="0"/>
              <a:t>with the Company/Account as “unknown” should be excluded from the analysis. </a:t>
            </a:r>
            <a:endParaRPr lang="en-US" sz="2000" dirty="0" smtClean="0"/>
          </a:p>
          <a:p>
            <a:pPr lvl="0"/>
            <a:endParaRPr lang="en-US" sz="2000" dirty="0"/>
          </a:p>
          <a:p>
            <a:pPr lvl="1"/>
            <a:r>
              <a:rPr lang="en-US" sz="2000" dirty="0"/>
              <a:t>These are events which are classified in our data as “SMERF – Social” by nature, they are generally unpredictable like a birthday party or Bah Mitzvah for a private entity and as such, unlikely to repeat versus those events associated with a defined “company”</a:t>
            </a:r>
          </a:p>
          <a:p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15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19200" y="1066800"/>
            <a:ext cx="9343567" cy="41910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2000" dirty="0"/>
              <a:t>Any dates that are tightly clustered and/or sequential are likely the same event (or sub events of a group) even though the event names may differ.  Likely need to build logic around these events so we keep them grouped together and not considered multiple repeats in the same month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33200" cy="332399"/>
          </a:xfrm>
        </p:spPr>
        <p:txBody>
          <a:bodyPr/>
          <a:lstStyle/>
          <a:p>
            <a:r>
              <a:rPr lang="en-US" dirty="0" smtClean="0"/>
              <a:t>Changes in Data.							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32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402603" y="1752600"/>
            <a:ext cx="9144000" cy="34290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Remove the Events if occurs only once.</a:t>
            </a:r>
            <a:endParaRPr lang="en-US" sz="2000" dirty="0"/>
          </a:p>
          <a:p>
            <a:pPr lvl="0"/>
            <a:endParaRPr lang="en-US" sz="2000" dirty="0" smtClean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 Account </a:t>
            </a:r>
            <a:r>
              <a:rPr lang="en-US" sz="2000" dirty="0"/>
              <a:t>/ Company that has started a monthly meeting and has repeated for 15 months should be identified as a monthly repeating event even though the history is </a:t>
            </a:r>
            <a:r>
              <a:rPr lang="en-US" sz="2000" dirty="0" smtClean="0"/>
              <a:t>thin.</a:t>
            </a:r>
            <a:endParaRPr lang="en-US" sz="2000" dirty="0"/>
          </a:p>
          <a:p>
            <a:pPr algn="just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33200" cy="332399"/>
          </a:xfrm>
        </p:spPr>
        <p:txBody>
          <a:bodyPr/>
          <a:lstStyle/>
          <a:p>
            <a:r>
              <a:rPr lang="en-US" dirty="0" smtClean="0"/>
              <a:t>Changes in Data.							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18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33200" cy="332399"/>
          </a:xfrm>
        </p:spPr>
        <p:txBody>
          <a:bodyPr/>
          <a:lstStyle/>
          <a:p>
            <a:r>
              <a:rPr lang="en-US" dirty="0" smtClean="0"/>
              <a:t>Changes in Data.								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38200" y="1981200"/>
            <a:ext cx="9982200" cy="3581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dirty="0" smtClean="0"/>
              <a:t>ompanies </a:t>
            </a:r>
            <a:r>
              <a:rPr lang="en-US" dirty="0"/>
              <a:t>which have returned to booking events would have the highest likelihood to be repeat business as they have resumed their “normal” booking pattern</a:t>
            </a:r>
          </a:p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ompanies that have a strong booking pattern, but have not started to book events since March 2020 will be a lower likelihood to repeat, however, they may begin booking in the future as restrictions fade, so should not be omitted entirely</a:t>
            </a:r>
          </a:p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Any Company that does not have sufficient history in a given period should be omitted from being flagged as a “repeat”</a:t>
            </a:r>
          </a:p>
          <a:p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73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lanta Yearly Event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81000" y="762000"/>
            <a:ext cx="10844212" cy="5562600"/>
          </a:xfrm>
          <a:prstGeom prst="roundRect">
            <a:avLst>
              <a:gd name="adj" fmla="val 2006"/>
            </a:avLst>
          </a:prstGeom>
          <a:gradFill>
            <a:gsLst>
              <a:gs pos="84000">
                <a:schemeClr val="bg1"/>
              </a:gs>
              <a:gs pos="1000">
                <a:schemeClr val="bg1"/>
              </a:gs>
              <a:gs pos="100000">
                <a:srgbClr val="E3F6F9"/>
              </a:gs>
            </a:gsLst>
            <a:lin ang="5400000" scaled="0"/>
          </a:gradFill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06" y="1076575"/>
            <a:ext cx="10186416" cy="49962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 t="18751" r="12500" b="18749"/>
          <a:stretch/>
        </p:blipFill>
        <p:spPr>
          <a:xfrm>
            <a:off x="10562767" y="844432"/>
            <a:ext cx="624345" cy="56758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97873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s_h4cfkvCYoTKfz_x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NU0k0uRlGLKbBJbGV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mz7fBjrpkCRx9px4Oc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SyScgSIQJvPa_JxFlJ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yMgS6nz0bahrrh_8K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BDmaIsbfq3Bd5AXAb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IzQmTMQDhnK_UtZjPD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5PuhLSpeHMdlCTYAo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DUgpD7edI.BEAFbOC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6MkFgKt5Qh8DIIVom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3Wj2jkRn.KNsVULZEk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yUi2qsySNrzEmdtmN6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EwZDGX1T0MEOhOYz1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_FYLiNH_qTn9L40Igo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qWxsJs2xfQ3lPTu95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EGldl0Tm91i7GkevR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B3IUQ6BkSiFJS3Lo_3K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B0_lDXgbTJRPxjRhg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3J7YYVYsjrGg1giN.D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D66B20A49D5A4E8582D1B452B39D34" ma:contentTypeVersion="4" ma:contentTypeDescription="Create a new document." ma:contentTypeScope="" ma:versionID="da1ba60fd098b879ad232efe313e147f">
  <xsd:schema xmlns:xsd="http://www.w3.org/2001/XMLSchema" xmlns:xs="http://www.w3.org/2001/XMLSchema" xmlns:p="http://schemas.microsoft.com/office/2006/metadata/properties" xmlns:ns2="94c8b5c5-fbf6-43e7-a0d2-f6a4413815a5" targetNamespace="http://schemas.microsoft.com/office/2006/metadata/properties" ma:root="true" ma:fieldsID="314b2c99c062427aa256d91cca2c4a5a" ns2:_="">
    <xsd:import namespace="94c8b5c5-fbf6-43e7-a0d2-f6a441381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c8b5c5-fbf6-43e7-a0d2-f6a4413815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DD32F3-BEB7-4E0D-A92E-F3781C839F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148E24-FA50-403B-87FE-B392B6CB6D2B}"/>
</file>

<file path=customXml/itemProps3.xml><?xml version="1.0" encoding="utf-8"?>
<ds:datastoreItem xmlns:ds="http://schemas.openxmlformats.org/officeDocument/2006/customXml" ds:itemID="{9964CD77-5587-4FED-BB25-B3486A5C7FA8}">
  <ds:schemaRefs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0087647b-346b-4ebc-8484-815e0bd4fec7"/>
    <ds:schemaRef ds:uri="http://purl.org/dc/dcmitype/"/>
    <ds:schemaRef ds:uri="http://schemas.openxmlformats.org/package/2006/metadata/core-properties"/>
    <ds:schemaRef ds:uri="cf97d9f5-29be-4c85-b498-fb9d24832b06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28</TotalTime>
  <Words>450</Words>
  <Application>Microsoft Office PowerPoint</Application>
  <PresentationFormat>Widescreen</PresentationFormat>
  <Paragraphs>55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F_Kai</vt:lpstr>
      <vt:lpstr>Trebuchet MS</vt:lpstr>
      <vt:lpstr>7_BCG Grid 16:9</vt:lpstr>
      <vt:lpstr>think-cell Slide</vt:lpstr>
      <vt:lpstr>IGT – Virtual Hackathon</vt:lpstr>
      <vt:lpstr>PowerPoint Presentation</vt:lpstr>
      <vt:lpstr>Scope Items </vt:lpstr>
      <vt:lpstr>Data Fields</vt:lpstr>
      <vt:lpstr>Changes in Data.        </vt:lpstr>
      <vt:lpstr>Changes in Data.        </vt:lpstr>
      <vt:lpstr>Changes in Data.        </vt:lpstr>
      <vt:lpstr>Changes in Data.        </vt:lpstr>
      <vt:lpstr>Atlanta Yearly Event</vt:lpstr>
      <vt:lpstr>AI-ML Model Outpu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rag Deva</dc:creator>
  <cp:lastModifiedBy>Rushiket Dalip More</cp:lastModifiedBy>
  <cp:revision>383</cp:revision>
  <dcterms:created xsi:type="dcterms:W3CDTF">2021-01-14T17:32:24Z</dcterms:created>
  <dcterms:modified xsi:type="dcterms:W3CDTF">2022-03-25T06:5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1-14T00:00:00Z</vt:filetime>
  </property>
  <property fmtid="{D5CDD505-2E9C-101B-9397-08002B2CF9AE}" pid="3" name="Creator">
    <vt:lpwstr>Microsoft® PowerPoint® 2010</vt:lpwstr>
  </property>
  <property fmtid="{D5CDD505-2E9C-101B-9397-08002B2CF9AE}" pid="4" name="LastSaved">
    <vt:filetime>2021-01-14T00:00:00Z</vt:filetime>
  </property>
  <property fmtid="{D5CDD505-2E9C-101B-9397-08002B2CF9AE}" pid="5" name="ContentTypeId">
    <vt:lpwstr>0x010100DDD66B20A49D5A4E8582D1B452B39D34</vt:lpwstr>
  </property>
</Properties>
</file>